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</p:sldIdLst>
  <p:sldSz cx="9144000" cy="6858000" type="screen4x3"/>
  <p:notesSz cx="6858000" cy="9144000"/>
  <p:custDataLst>
    <p:tags r:id="rId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52" d="100"/>
          <a:sy n="52" d="100"/>
        </p:scale>
        <p:origin x="-1176" y="-9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59FCEE-13F4-4463-A3C5-460CA0D6D098}" type="datetimeFigureOut">
              <a:rPr lang="en-US" smtClean="0"/>
              <a:t>1/13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20D846-5A1A-4499-B204-DB46E78B2F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418253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59FCEE-13F4-4463-A3C5-460CA0D6D098}" type="datetimeFigureOut">
              <a:rPr lang="en-US" smtClean="0"/>
              <a:t>1/13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20D846-5A1A-4499-B204-DB46E78B2F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903686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59FCEE-13F4-4463-A3C5-460CA0D6D098}" type="datetimeFigureOut">
              <a:rPr lang="en-US" smtClean="0"/>
              <a:t>1/13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20D846-5A1A-4499-B204-DB46E78B2F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331867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59FCEE-13F4-4463-A3C5-460CA0D6D098}" type="datetimeFigureOut">
              <a:rPr lang="en-US" smtClean="0"/>
              <a:t>1/13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20D846-5A1A-4499-B204-DB46E78B2F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36595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59FCEE-13F4-4463-A3C5-460CA0D6D098}" type="datetimeFigureOut">
              <a:rPr lang="en-US" smtClean="0"/>
              <a:t>1/13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20D846-5A1A-4499-B204-DB46E78B2F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74793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59FCEE-13F4-4463-A3C5-460CA0D6D098}" type="datetimeFigureOut">
              <a:rPr lang="en-US" smtClean="0"/>
              <a:t>1/13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20D846-5A1A-4499-B204-DB46E78B2F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77203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59FCEE-13F4-4463-A3C5-460CA0D6D098}" type="datetimeFigureOut">
              <a:rPr lang="en-US" smtClean="0"/>
              <a:t>1/13/201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20D846-5A1A-4499-B204-DB46E78B2F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00921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59FCEE-13F4-4463-A3C5-460CA0D6D098}" type="datetimeFigureOut">
              <a:rPr lang="en-US" smtClean="0"/>
              <a:t>1/13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20D846-5A1A-4499-B204-DB46E78B2F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98726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59FCEE-13F4-4463-A3C5-460CA0D6D098}" type="datetimeFigureOut">
              <a:rPr lang="en-US" smtClean="0"/>
              <a:t>1/13/201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20D846-5A1A-4499-B204-DB46E78B2F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338485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59FCEE-13F4-4463-A3C5-460CA0D6D098}" type="datetimeFigureOut">
              <a:rPr lang="en-US" smtClean="0"/>
              <a:t>1/13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20D846-5A1A-4499-B204-DB46E78B2F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687876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59FCEE-13F4-4463-A3C5-460CA0D6D098}" type="datetimeFigureOut">
              <a:rPr lang="en-US" smtClean="0"/>
              <a:t>1/13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20D846-5A1A-4499-B204-DB46E78B2F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74142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6926240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759FCEE-13F4-4463-A3C5-460CA0D6D098}" type="datetimeFigureOut">
              <a:rPr lang="en-US" smtClean="0"/>
              <a:t>1/13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820D846-5A1A-4499-B204-DB46E78B2F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08435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4.xml"/><Relationship Id="rId18" Type="http://schemas.openxmlformats.org/officeDocument/2006/relationships/slideLayout" Target="../slideLayouts/slideLayout1.xml"/><Relationship Id="rId3" Type="http://schemas.openxmlformats.org/officeDocument/2006/relationships/tags" Target="../tags/tag4.xml"/><Relationship Id="rId21" Type="http://schemas.openxmlformats.org/officeDocument/2006/relationships/oleObject" Target="../embeddings/oleObject3.bin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tags" Target="../tags/tag18.xml"/><Relationship Id="rId2" Type="http://schemas.openxmlformats.org/officeDocument/2006/relationships/tags" Target="../tags/tag3.xml"/><Relationship Id="rId16" Type="http://schemas.openxmlformats.org/officeDocument/2006/relationships/tags" Target="../tags/tag17.xml"/><Relationship Id="rId20" Type="http://schemas.openxmlformats.org/officeDocument/2006/relationships/image" Target="../media/image1.emf"/><Relationship Id="rId1" Type="http://schemas.openxmlformats.org/officeDocument/2006/relationships/vmlDrawing" Target="../drawings/vmlDrawing2.v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5" Type="http://schemas.openxmlformats.org/officeDocument/2006/relationships/tags" Target="../tags/tag6.xml"/><Relationship Id="rId15" Type="http://schemas.openxmlformats.org/officeDocument/2006/relationships/tags" Target="../tags/tag16.xml"/><Relationship Id="rId10" Type="http://schemas.openxmlformats.org/officeDocument/2006/relationships/tags" Target="../tags/tag11.xml"/><Relationship Id="rId19" Type="http://schemas.openxmlformats.org/officeDocument/2006/relationships/oleObject" Target="../embeddings/oleObject2.bin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tags" Target="../tags/tag15.xml"/><Relationship Id="rId22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16618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>
              <a:latin typeface="Calibri"/>
              <a:sym typeface="Calibri"/>
            </a:endParaRPr>
          </a:p>
        </p:txBody>
      </p:sp>
      <p:graphicFrame>
        <p:nvGraphicFramePr>
          <p:cNvPr id="4" name="Object 3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5857683"/>
              </p:ext>
            </p:extLst>
          </p:nvPr>
        </p:nvGraphicFramePr>
        <p:xfrm>
          <a:off x="533400" y="685800"/>
          <a:ext cx="8277117" cy="42194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Chart" r:id="rId21" imgW="8277117" imgH="4219493" progId="MSGraph.Chart.8">
                  <p:embed followColorScheme="full"/>
                </p:oleObj>
              </mc:Choice>
              <mc:Fallback>
                <p:oleObj name="Chart" r:id="rId21" imgW="8277117" imgH="4219493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533400" y="685800"/>
                        <a:ext cx="8277117" cy="42194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9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80963" y="2979738"/>
            <a:ext cx="7778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6C5153B-F3FF-42D4-9E24-15B19B86BE2B}" type="datetime'''C''''a''t''''e''''g''''''''or''y'''''' ''''''''''''1'''''">
              <a:rPr lang="en-US" sz="1400"/>
              <a:pPr/>
              <a:t>Category 1</a:t>
            </a:fld>
            <a:endParaRPr lang="en-US" sz="1400" dirty="0">
              <a:sym typeface="+mn-lt"/>
            </a:endParaRPr>
          </a:p>
        </p:txBody>
      </p:sp>
      <p:sp>
        <p:nvSpPr>
          <p:cNvPr id="13" name="Text Placeholder 13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2946400" y="1876425"/>
            <a:ext cx="231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3380B3B-47CF-445D-A7C0-07C186733738}" type="datetime'''''''''3''''''''''''''''''''1'''">
              <a:rPr lang="en-US" sz="140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1</a:t>
            </a:fld>
            <a:endParaRPr lang="en-US" sz="1400" dirty="0">
              <a:sym typeface="+mn-lt"/>
            </a:endParaRPr>
          </a:p>
        </p:txBody>
      </p:sp>
      <p:sp>
        <p:nvSpPr>
          <p:cNvPr id="7" name="Text Placeholder 7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874963" y="4953000"/>
            <a:ext cx="3746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FED8EDC-AF70-4C42-B0DE-1100864CCBE6}" type="datetime'''''''''''2''0''''''1''''''''''''''''''''''2'''''''''''''">
              <a:rPr lang="en-US" sz="140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2</a:t>
            </a:fld>
            <a:endParaRPr lang="en-US" sz="1400" dirty="0">
              <a:sym typeface="+mn-lt"/>
            </a:endParaRPr>
          </a:p>
        </p:txBody>
      </p:sp>
      <p:sp>
        <p:nvSpPr>
          <p:cNvPr id="5" name="Text Placeholder 6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260475" y="4953000"/>
            <a:ext cx="3746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91D74C9-AE70-47B1-A5F7-41909CCB4AE0}" type="datetime'''''''20''''''''''''''''''1''''1'''''''''''''''''''''''">
              <a:rPr lang="en-US" sz="140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1</a:t>
            </a:fld>
            <a:endParaRPr lang="en-US" sz="1400" dirty="0">
              <a:sym typeface="+mn-lt"/>
            </a:endParaRPr>
          </a:p>
        </p:txBody>
      </p:sp>
      <p:sp>
        <p:nvSpPr>
          <p:cNvPr id="12" name="Text Placeholder 12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1331913" y="2695575"/>
            <a:ext cx="231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12620D6-2AE8-4B9A-8BC0-EB7D07C9CC7B}" type="datetime'''''''22'''''''''''''''''''''''''''''''''''''''''''">
              <a:rPr lang="en-US" sz="140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2</a:t>
            </a:fld>
            <a:endParaRPr lang="en-US" sz="1400" dirty="0">
              <a:sym typeface="+mn-lt"/>
            </a:endParaRPr>
          </a:p>
        </p:txBody>
      </p:sp>
      <p:sp>
        <p:nvSpPr>
          <p:cNvPr id="8" name="Text Placeholder 8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4489450" y="4953000"/>
            <a:ext cx="3746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2F8FA75-5127-469E-B384-7EF1BDB043A8}" type="datetime'''''2''''''0''''1''''''''3'''''''''''''''''''''">
              <a:rPr lang="en-US" sz="140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3</a:t>
            </a:fld>
            <a:endParaRPr lang="en-US" sz="1400" dirty="0">
              <a:sym typeface="+mn-lt"/>
            </a:endParaRPr>
          </a:p>
        </p:txBody>
      </p:sp>
      <p:sp>
        <p:nvSpPr>
          <p:cNvPr id="11" name="Text Placeholder 11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80963" y="4127500"/>
            <a:ext cx="7778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4FF21E4-DA73-4A0B-9A04-599BD8225FD1}" type="datetime'''C''''''''''''''''a''''''''teg''''o''''ry ''3'">
              <a:rPr lang="en-US" sz="1400"/>
              <a:pPr/>
              <a:t>Category 3</a:t>
            </a:fld>
            <a:endParaRPr lang="en-US" sz="1400" dirty="0">
              <a:sym typeface="+mn-lt"/>
            </a:endParaRPr>
          </a:p>
        </p:txBody>
      </p:sp>
      <p:sp>
        <p:nvSpPr>
          <p:cNvPr id="10" name="Text Placeholder 10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80963" y="3351213"/>
            <a:ext cx="7778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5B0C4FA-48BC-4A53-83C6-6CC4280EFF55}" type="datetime'''''Ca''t''''e''''''''''''go''''''''''r''y'''' ''2'''''''''">
              <a:rPr lang="en-US" sz="1400"/>
              <a:pPr/>
              <a:t>Category 2</a:t>
            </a:fld>
            <a:endParaRPr lang="en-US" sz="1400" dirty="0">
              <a:sym typeface="+mn-lt"/>
            </a:endParaRPr>
          </a:p>
        </p:txBody>
      </p:sp>
      <p:sp>
        <p:nvSpPr>
          <p:cNvPr id="14" name="Text Placeholder 14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4560888" y="542925"/>
            <a:ext cx="231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E028BBB-7603-4825-B324-AA8EBB3BA371}" type="datetime'''''''''''''''''''''''''''''''''''''''''''4''6'">
              <a:rPr lang="en-US" sz="140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6</a:t>
            </a:fld>
            <a:endParaRPr lang="en-US" sz="1400" dirty="0">
              <a:sym typeface="+mn-lt"/>
            </a:endParaRPr>
          </a:p>
        </p:txBody>
      </p:sp>
      <p:sp>
        <p:nvSpPr>
          <p:cNvPr id="16" name="Text Placeholder 15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6103938" y="4953000"/>
            <a:ext cx="3746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06EC012-B7CD-4564-9615-8C7F8419691A}" type="datetime'2''0''''''''1''''''''''''''''''''''''''4'''''''''''''''''''">
              <a:rPr lang="en-US" sz="1400">
                <a:latin typeface="Calibri"/>
                <a:sym typeface="Calibri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4</a:t>
            </a:fld>
            <a:endParaRPr lang="en-US" sz="1400" dirty="0">
              <a:latin typeface="Calibri"/>
              <a:sym typeface="Calibri"/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7718425" y="4953000"/>
            <a:ext cx="3746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027BC3A-C3E4-4DB6-8DA1-1D6662587DA6}" type="datetime'''''''''2''''''''''''0''''''''''1''''''5'''''">
              <a:rPr lang="en-US" sz="1400">
                <a:latin typeface="Calibri"/>
                <a:sym typeface="Calibri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5</a:t>
            </a:fld>
            <a:endParaRPr lang="en-US" sz="1400" dirty="0">
              <a:latin typeface="Calibri"/>
              <a:sym typeface="Calibri"/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6175375" y="3600450"/>
            <a:ext cx="231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08AF43B-865B-4905-9DB5-124A4CE1F10F}" type="datetime'''''''''''''''''''''1''''''''''''1'''''''''''''''''''">
              <a:rPr lang="en-US" sz="1400"/>
              <a:pPr/>
              <a:t>11</a:t>
            </a:fld>
            <a:endParaRPr lang="en-US" sz="1400" dirty="0">
              <a:latin typeface="Calibri"/>
              <a:sym typeface="Calibri"/>
            </a:endParaRPr>
          </a:p>
        </p:txBody>
      </p:sp>
      <p:sp>
        <p:nvSpPr>
          <p:cNvPr id="19" name="Text Placeholder 18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7789863" y="3429000"/>
            <a:ext cx="231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DAF1389-49C2-4F6D-B409-C14E59FB6F3B}" type="datetime'''''''1''''''''''''''''3'''''''''''''''''''''''''''">
              <a:rPr lang="en-US" sz="1400"/>
              <a:pPr/>
              <a:t>13</a:t>
            </a:fld>
            <a:endParaRPr lang="en-US" sz="1400" dirty="0">
              <a:latin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357838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69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#m/%#d/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XUnII4uEih7zsT46twP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fufVU_W_06Ag1D7PkhNN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ORPi9GwUmB0Urn0eqs2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EjF_hwxEeu9b1_b2fiO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xqzfTc.EyxenLszmKfU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DdKKchxEOfkSupbqmst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kB2F787k2y0XK9p06gO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mOOWe2S0ykhOVKc4Ufh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0f0Yu2ozUKS3PvYHL8m4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39rcMG30auM1wD3V0i.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zPfrhX4kKBPz7ln5w6r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CzZ8msuk2Bup3D5ROFZ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6f1hX1ik06BPnLl6YDbw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waxGZphPUm65MFxPbM07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WIB3EOV80O7GsOdDUCoy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</TotalTime>
  <Words>13</Words>
  <Application>Microsoft Office PowerPoint</Application>
  <PresentationFormat>On-screen Show (4:3)</PresentationFormat>
  <Paragraphs>13</Paragraphs>
  <Slides>1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</vt:i4>
      </vt:variant>
    </vt:vector>
  </HeadingPairs>
  <TitlesOfParts>
    <vt:vector size="4" baseType="lpstr">
      <vt:lpstr>Office Theme</vt:lpstr>
      <vt:lpstr>Microsoft Graph Chart</vt:lpstr>
      <vt:lpstr>think-cell Slide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it</dc:creator>
  <cp:lastModifiedBy>it</cp:lastModifiedBy>
  <cp:revision>1</cp:revision>
  <dcterms:created xsi:type="dcterms:W3CDTF">2016-01-13T17:29:15Z</dcterms:created>
  <dcterms:modified xsi:type="dcterms:W3CDTF">2016-01-13T17:31:56Z</dcterms:modified>
</cp:coreProperties>
</file>